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5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5"/>
    <p:sldMasterId id="2147483729" r:id="rId6"/>
    <p:sldMasterId id="2147483648" r:id="rId7"/>
    <p:sldMasterId id="2147483668" r:id="rId8"/>
  </p:sldMasterIdLst>
  <p:notesMasterIdLst>
    <p:notesMasterId r:id="rId14"/>
  </p:notesMasterIdLst>
  <p:sldIdLst>
    <p:sldId id="257" r:id="rId9"/>
    <p:sldId id="300" r:id="rId10"/>
    <p:sldId id="344" r:id="rId11"/>
    <p:sldId id="342" r:id="rId12"/>
    <p:sldId id="343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2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05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08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10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11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14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16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819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782F65-EF9D-79AB-C6F4-29B8500452CE}" name="Balzke, Eric (Allianz Lebensversicherungs-AG)" initials="BL" userId="S::eric.balzke@allianz.de::186adc61-d7cd-4d42-841c-db258286d06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424FBE-410D-463A-ABDC-ABDC9308DC5E}" v="58" dt="2022-10-17T11:30:25.440"/>
    <p1510:client id="{063B33B3-319E-44DA-A065-C20060DAF70B}" v="16" dt="2023-02-15T06:57:58.880"/>
    <p1510:client id="{0A978F78-3D41-2339-292E-470BDCF9F3DC}" v="112" dt="2022-10-24T04:24:20.933"/>
    <p1510:client id="{22C3A3B3-2E57-F083-2DFF-4CEAD9698A70}" v="37" dt="2022-10-24T14:13:31.145"/>
    <p1510:client id="{23381C7D-EF4C-42CD-9799-F4F0C9A4CF38}" v="219" dt="2022-10-25T06:00:23.508"/>
    <p1510:client id="{2B4F40C8-9349-4901-90F1-F7946746CD48}" v="5" dt="2022-10-28T07:56:23.526"/>
    <p1510:client id="{2CDB77A8-EAEF-24EC-F721-DEE0C7E54B04}" v="1" dt="2022-10-21T12:05:59.572"/>
    <p1510:client id="{32BF85F2-338E-49B2-BCB5-68EE133FB1A7}" v="162" dt="2023-01-24T06:08:05.414"/>
    <p1510:client id="{5D51BFC3-C31C-C249-CCBB-FCF5317446A3}" v="321" dt="2022-10-20T11:05:54.924"/>
    <p1510:client id="{70ECBD69-70FA-407A-A84C-1F3511BD84F1}" v="182" dt="2023-02-15T06:10:08.948"/>
    <p1510:client id="{A9A6644F-8E6C-463F-AFB7-2C79E9954554}" v="257" dt="2022-10-24T11:28:01.403"/>
    <p1510:client id="{AC36DF0F-0FB8-4B7D-92EC-E78658DC8BBE}" v="1" dt="2022-10-27T06:02:21.771"/>
    <p1510:client id="{AFA0E954-121C-0145-F579-5BE8C8650BB5}" v="25" dt="2022-10-24T14:06:00.232"/>
    <p1510:client id="{B0E33223-3240-3D42-A2AF-F546EED8881E}" v="28" dt="2022-10-24T10:34:45.931"/>
    <p1510:client id="{C4237095-FA11-9654-63F9-E5D78CB5C30B}" v="2" dt="2022-11-16T09:28:20.341"/>
    <p1510:client id="{CFF83575-B919-4ADC-B465-0D942BF1FA13}" v="274" dt="2022-10-24T10:27:59.270"/>
    <p1510:client id="{D53E1648-F3B7-9CE3-95FF-D33EB03DA25B}" v="2" dt="2022-11-18T07:52:33.114"/>
    <p1510:client id="{DC3BA7B5-8D5F-45FE-26ED-2BE7B6A2A462}" v="1" dt="2023-02-07T11:36:54.318"/>
    <p1510:client id="{DE0B9A8B-727A-4049-A05F-3DB71ADA8CA9}" v="17" dt="2023-02-15T11:39:23.111"/>
    <p1510:client id="{EDB9D367-6B04-3B6E-F742-B1B0DAAAF64F}" v="4" dt="2022-10-24T14:16:05.863"/>
    <p1510:client id="{F2DF5857-2ADB-4BEB-82A2-B58F6A914783}" v="31" dt="2023-02-15T06:51:19.636"/>
    <p1510:client id="{F5A99734-7CD9-F2A4-CB21-A5B0F6C10458}" v="12" dt="2022-10-26T14:19:20.230"/>
    <p1510:client id="{F5D3B265-AFC8-4AE6-B3C7-BE0C07AD3438}" v="125" dt="2022-10-25T07:32:54.639"/>
    <p1510:client id="{FA8A3B97-FC72-433A-15CA-F6CCFA4923E9}" v="33" dt="2022-11-16T14:16:49.4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7" d="100"/>
          <a:sy n="117" d="100"/>
        </p:scale>
        <p:origin x="31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C3D90-D258-41E1-BFE3-29A340648A7E}" type="datetimeFigureOut">
              <a:rPr lang="de-DE" smtClean="0"/>
              <a:t>02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3E0F7A-EA63-40E1-97FB-D173EE3BA0C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430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1pPr>
    <a:lvl2pPr marL="483757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2pPr>
    <a:lvl3pPr marL="967514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3pPr>
    <a:lvl4pPr marL="1451272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4pPr>
    <a:lvl5pPr marL="1935029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5pPr>
    <a:lvl6pPr marL="2418787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6pPr>
    <a:lvl7pPr marL="2902544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7pPr>
    <a:lvl8pPr marL="3386301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8pPr>
    <a:lvl9pPr marL="3870059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131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229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722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7447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693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sv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sv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wmf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sv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uf blau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E2EA14D-E275-49FF-9C8E-323C9A806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903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E2EA14D-E275-49FF-9C8E-323C9A806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vert="horz"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15B85D1-F199-4887-990C-E3BAA24078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558217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D7AB989-3C08-4E8F-9622-DC3B9C5D10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80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D7AB989-3C08-4E8F-9622-DC3B9C5D1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761017-7A9E-407D-8DCD-CEDEF7758D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pic>
        <p:nvPicPr>
          <p:cNvPr id="5" name="Bildplatzhalter 11">
            <a:extLst>
              <a:ext uri="{FF2B5EF4-FFF2-40B4-BE49-F238E27FC236}">
                <a16:creationId xmlns:a16="http://schemas.microsoft.com/office/drawing/2014/main" id="{727A807A-44F9-421E-99A3-97AA6468028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Grafik 13">
            <a:extLst>
              <a:ext uri="{FF2B5EF4-FFF2-40B4-BE49-F238E27FC236}">
                <a16:creationId xmlns:a16="http://schemas.microsoft.com/office/drawing/2014/main" id="{CE079E16-C310-4874-A85B-DA706D4C21CA}"/>
              </a:ext>
            </a:extLst>
          </p:cNvPr>
          <p:cNvSpPr>
            <a:spLocks noChangeAspect="1"/>
          </p:cNvSpPr>
          <p:nvPr/>
        </p:nvSpPr>
        <p:spPr>
          <a:xfrm>
            <a:off x="3810098" y="1143097"/>
            <a:ext cx="4571808" cy="4571807"/>
          </a:xfrm>
          <a:custGeom>
            <a:avLst/>
            <a:gdLst>
              <a:gd name="connsiteX0" fmla="*/ 3048606 w 5327650"/>
              <a:gd name="connsiteY0" fmla="*/ 4158431 h 5327649"/>
              <a:gd name="connsiteX1" fmla="*/ 3048606 w 5327650"/>
              <a:gd name="connsiteY1" fmla="*/ 1218444 h 5327649"/>
              <a:gd name="connsiteX2" fmla="*/ 2737659 w 5327650"/>
              <a:gd name="connsiteY2" fmla="*/ 905364 h 5327649"/>
              <a:gd name="connsiteX3" fmla="*/ 2049870 w 5327650"/>
              <a:gd name="connsiteY3" fmla="*/ 905364 h 5327649"/>
              <a:gd name="connsiteX4" fmla="*/ 2049870 w 5327650"/>
              <a:gd name="connsiteY4" fmla="*/ 1233529 h 5327649"/>
              <a:gd name="connsiteX5" fmla="*/ 2090888 w 5327650"/>
              <a:gd name="connsiteY5" fmla="*/ 1233529 h 5327649"/>
              <a:gd name="connsiteX6" fmla="*/ 2278251 w 5327650"/>
              <a:gd name="connsiteY6" fmla="*/ 1458216 h 5327649"/>
              <a:gd name="connsiteX7" fmla="*/ 2278251 w 5327650"/>
              <a:gd name="connsiteY7" fmla="*/ 4158431 h 5327649"/>
              <a:gd name="connsiteX8" fmla="*/ 3048606 w 5327650"/>
              <a:gd name="connsiteY8" fmla="*/ 4158431 h 5327649"/>
              <a:gd name="connsiteX9" fmla="*/ 3387869 w 5327650"/>
              <a:gd name="connsiteY9" fmla="*/ 4158431 h 5327649"/>
              <a:gd name="connsiteX10" fmla="*/ 4152137 w 5327650"/>
              <a:gd name="connsiteY10" fmla="*/ 4158431 h 5327649"/>
              <a:gd name="connsiteX11" fmla="*/ 4152137 w 5327650"/>
              <a:gd name="connsiteY11" fmla="*/ 1868687 h 5327649"/>
              <a:gd name="connsiteX12" fmla="*/ 3839602 w 5327650"/>
              <a:gd name="connsiteY12" fmla="*/ 1556136 h 5327649"/>
              <a:gd name="connsiteX13" fmla="*/ 3387869 w 5327650"/>
              <a:gd name="connsiteY13" fmla="*/ 1556136 h 5327649"/>
              <a:gd name="connsiteX14" fmla="*/ 3387869 w 5327650"/>
              <a:gd name="connsiteY14" fmla="*/ 4158431 h 5327649"/>
              <a:gd name="connsiteX15" fmla="*/ 1940840 w 5327650"/>
              <a:gd name="connsiteY15" fmla="*/ 4158431 h 5327649"/>
              <a:gd name="connsiteX16" fmla="*/ 1940840 w 5327650"/>
              <a:gd name="connsiteY16" fmla="*/ 1556136 h 5327649"/>
              <a:gd name="connsiteX17" fmla="*/ 1488048 w 5327650"/>
              <a:gd name="connsiteY17" fmla="*/ 1556136 h 5327649"/>
              <a:gd name="connsiteX18" fmla="*/ 1176307 w 5327650"/>
              <a:gd name="connsiteY18" fmla="*/ 1868687 h 5327649"/>
              <a:gd name="connsiteX19" fmla="*/ 1176307 w 5327650"/>
              <a:gd name="connsiteY19" fmla="*/ 4158431 h 5327649"/>
              <a:gd name="connsiteX20" fmla="*/ 1940840 w 5327650"/>
              <a:gd name="connsiteY20" fmla="*/ 4158431 h 5327649"/>
              <a:gd name="connsiteX21" fmla="*/ 4875123 w 5327650"/>
              <a:gd name="connsiteY21" fmla="*/ 2664222 h 5327649"/>
              <a:gd name="connsiteX22" fmla="*/ 2664090 w 5327650"/>
              <a:gd name="connsiteY22" fmla="*/ 4901565 h 5327649"/>
              <a:gd name="connsiteX23" fmla="*/ 452792 w 5327650"/>
              <a:gd name="connsiteY23" fmla="*/ 2664222 h 5327649"/>
              <a:gd name="connsiteX24" fmla="*/ 2664090 w 5327650"/>
              <a:gd name="connsiteY24" fmla="*/ 426350 h 5327649"/>
              <a:gd name="connsiteX25" fmla="*/ 4875123 w 5327650"/>
              <a:gd name="connsiteY25" fmla="*/ 2664222 h 5327649"/>
              <a:gd name="connsiteX26" fmla="*/ 5327650 w 5327650"/>
              <a:gd name="connsiteY26" fmla="*/ 2657341 h 5327649"/>
              <a:gd name="connsiteX27" fmla="*/ 2667530 w 5327650"/>
              <a:gd name="connsiteY27" fmla="*/ 0 h 5327649"/>
              <a:gd name="connsiteX28" fmla="*/ 2660649 w 5327650"/>
              <a:gd name="connsiteY28" fmla="*/ 0 h 5327649"/>
              <a:gd name="connsiteX29" fmla="*/ 0 w 5327650"/>
              <a:gd name="connsiteY29" fmla="*/ 2664222 h 5327649"/>
              <a:gd name="connsiteX30" fmla="*/ 2664090 w 5327650"/>
              <a:gd name="connsiteY30" fmla="*/ 5327650 h 5327649"/>
              <a:gd name="connsiteX31" fmla="*/ 5327650 w 5327650"/>
              <a:gd name="connsiteY31" fmla="*/ 2670838 h 5327649"/>
              <a:gd name="connsiteX32" fmla="*/ 5327650 w 5327650"/>
              <a:gd name="connsiteY32" fmla="*/ 2657341 h 53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27650" h="5327649">
                <a:moveTo>
                  <a:pt x="3048606" y="4158431"/>
                </a:moveTo>
                <a:lnTo>
                  <a:pt x="3048606" y="1218444"/>
                </a:lnTo>
                <a:cubicBezTo>
                  <a:pt x="3048606" y="984230"/>
                  <a:pt x="2965245" y="905364"/>
                  <a:pt x="2737659" y="905364"/>
                </a:cubicBezTo>
                <a:lnTo>
                  <a:pt x="2049870" y="905364"/>
                </a:lnTo>
                <a:lnTo>
                  <a:pt x="2049870" y="1233529"/>
                </a:lnTo>
                <a:lnTo>
                  <a:pt x="2090888" y="1233529"/>
                </a:lnTo>
                <a:cubicBezTo>
                  <a:pt x="2248082" y="1233529"/>
                  <a:pt x="2278251" y="1268992"/>
                  <a:pt x="2278251" y="1458216"/>
                </a:cubicBezTo>
                <a:lnTo>
                  <a:pt x="2278251" y="4158431"/>
                </a:lnTo>
                <a:lnTo>
                  <a:pt x="3048606" y="4158431"/>
                </a:lnTo>
                <a:close/>
                <a:moveTo>
                  <a:pt x="3387869" y="4158431"/>
                </a:moveTo>
                <a:lnTo>
                  <a:pt x="4152137" y="4158431"/>
                </a:lnTo>
                <a:lnTo>
                  <a:pt x="4152137" y="1868687"/>
                </a:lnTo>
                <a:cubicBezTo>
                  <a:pt x="4152137" y="1638972"/>
                  <a:pt x="4063484" y="1556136"/>
                  <a:pt x="3839602" y="1556136"/>
                </a:cubicBezTo>
                <a:lnTo>
                  <a:pt x="3387869" y="1556136"/>
                </a:lnTo>
                <a:lnTo>
                  <a:pt x="3387869" y="4158431"/>
                </a:lnTo>
                <a:close/>
                <a:moveTo>
                  <a:pt x="1940840" y="4158431"/>
                </a:moveTo>
                <a:lnTo>
                  <a:pt x="1940840" y="1556136"/>
                </a:lnTo>
                <a:lnTo>
                  <a:pt x="1488048" y="1556136"/>
                </a:lnTo>
                <a:cubicBezTo>
                  <a:pt x="1264166" y="1556136"/>
                  <a:pt x="1176307" y="1638972"/>
                  <a:pt x="1176307" y="1868687"/>
                </a:cubicBezTo>
                <a:lnTo>
                  <a:pt x="1176307" y="4158431"/>
                </a:lnTo>
                <a:lnTo>
                  <a:pt x="1940840" y="4158431"/>
                </a:lnTo>
                <a:close/>
                <a:moveTo>
                  <a:pt x="4875123" y="2664222"/>
                </a:moveTo>
                <a:cubicBezTo>
                  <a:pt x="4875123" y="3959679"/>
                  <a:pt x="3943869" y="4901565"/>
                  <a:pt x="2664090" y="4901565"/>
                </a:cubicBezTo>
                <a:cubicBezTo>
                  <a:pt x="1384310" y="4901565"/>
                  <a:pt x="452792" y="3959679"/>
                  <a:pt x="452792" y="2664222"/>
                </a:cubicBezTo>
                <a:cubicBezTo>
                  <a:pt x="452792" y="1368500"/>
                  <a:pt x="1384310" y="426350"/>
                  <a:pt x="2664090" y="426350"/>
                </a:cubicBezTo>
                <a:cubicBezTo>
                  <a:pt x="3943869" y="426350"/>
                  <a:pt x="4875123" y="1374323"/>
                  <a:pt x="4875123" y="2664222"/>
                </a:cubicBezTo>
                <a:close/>
                <a:moveTo>
                  <a:pt x="5327650" y="2657341"/>
                </a:moveTo>
                <a:cubicBezTo>
                  <a:pt x="5324210" y="1138520"/>
                  <a:pt x="4187599" y="1588"/>
                  <a:pt x="2667530" y="0"/>
                </a:cubicBezTo>
                <a:lnTo>
                  <a:pt x="2660649" y="0"/>
                </a:lnTo>
                <a:cubicBezTo>
                  <a:pt x="1137670" y="1588"/>
                  <a:pt x="0" y="1141961"/>
                  <a:pt x="0" y="2664222"/>
                </a:cubicBezTo>
                <a:cubicBezTo>
                  <a:pt x="0" y="4189395"/>
                  <a:pt x="1139258" y="5327650"/>
                  <a:pt x="2664090" y="5327650"/>
                </a:cubicBezTo>
                <a:cubicBezTo>
                  <a:pt x="4186011" y="5327650"/>
                  <a:pt x="5324210" y="4192835"/>
                  <a:pt x="5327650" y="2670838"/>
                </a:cubicBezTo>
                <a:lnTo>
                  <a:pt x="5327650" y="26573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alpha val="25000"/>
                  <a:lumMod val="100000"/>
                </a:schemeClr>
              </a:gs>
            </a:gsLst>
            <a:lin ang="18900000" scaled="1"/>
            <a:tileRect/>
          </a:gradFill>
          <a:ln w="26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e-DE" sz="1905" noProof="0"/>
          </a:p>
        </p:txBody>
      </p:sp>
    </p:spTree>
    <p:extLst>
      <p:ext uri="{BB962C8B-B14F-4D97-AF65-F5344CB8AC3E}">
        <p14:creationId xmlns:p14="http://schemas.microsoft.com/office/powerpoint/2010/main" val="648135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299830B-0CAE-490C-9F63-53C4A88A33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7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299830B-0CAE-490C-9F63-53C4A88A3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761276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Spalte ohne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49305DE-D121-4A33-BB7E-01CF022E51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45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49305DE-D121-4A33-BB7E-01CF022E5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689843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649AE2F-D0CD-4D97-986E-CA59CC87C9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709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649AE2F-D0CD-4D97-986E-CA59CC87C9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349666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357F532-F886-4D4E-BCF1-17C6E94E83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03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357F532-F886-4D4E-BCF1-17C6E94E83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401694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EB9E210-F592-461F-86EB-0E09D02366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69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EB9E210-F592-461F-86EB-0E09D0236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1302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325256A-0555-4922-AC51-957A62755B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055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325256A-0555-4922-AC51-957A62755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60970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Überschrif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BD01B21-B0E6-4AA4-80C2-525B3AF9D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502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BD01B21-B0E6-4AA4-80C2-525B3AF9D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 rtl="0"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 rtl="0">
              <a:buNone/>
              <a:defRPr sz="20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087464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mit Überschrif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A247739-B3AB-4183-8E2B-5E35559ECB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3814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A247739-B3AB-4183-8E2B-5E35559EC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760687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Überschrif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F4C503-1657-4DC8-8F03-0DF873D88C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4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F4C503-1657-4DC8-8F03-0DF873D88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2110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A035A1-EBED-4579-9890-122DA3AD28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20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A035A1-EBED-4579-9890-122DA3AD2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34A093-8B28-4E43-B2A4-684048524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2315700"/>
            <a:ext cx="11233775" cy="2887655"/>
          </a:xfrm>
        </p:spPr>
        <p:txBody>
          <a:bodyPr vert="horz"/>
          <a:lstStyle>
            <a:lvl1pPr>
              <a:lnSpc>
                <a:spcPts val="8500"/>
              </a:lnSpc>
              <a:defRPr lang="en-US" sz="85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en-US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0A8EF058-F745-44F5-9C5A-CB9010BB23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bg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2961236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Überschrift mit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5CB3512-DAA6-413B-A46A-76848B95F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446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5CB3512-DAA6-413B-A46A-76848B95F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 vert="horz"/>
          <a:lstStyle>
            <a:lvl1pPr rtl="0">
              <a:lnSpc>
                <a:spcPts val="8500"/>
              </a:lnSpc>
              <a:defRPr sz="8500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 rtl="0">
              <a:defRPr sz="1600" b="0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 rtl="0">
              <a:defRPr sz="1600" b="0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 rtl="0">
              <a:defRPr sz="1600" b="0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330258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Überschrift auf blau/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2B95ECE-F187-4154-941D-28EFE23C9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641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2B95ECE-F187-4154-941D-28EFE23C9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 vert="horz"/>
          <a:lstStyle>
            <a:lvl1pPr rtl="0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87427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Überschrift auf blau/weiß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F09DDC5-4ED1-46F4-B0E1-30696D873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00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F09DDC5-4ED1-46F4-B0E1-30696D873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 vert="horz"/>
          <a:lstStyle>
            <a:lvl1pPr rtl="0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89406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 und Kopfze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BF2F914-C574-4410-9824-F423D478B9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89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BF2F914-C574-4410-9824-F423D478B9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950606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große Überschrift und Kopfze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15A1C5B-3D05-4E1C-9A49-D334A6766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11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15A1C5B-3D05-4E1C-9A49-D334A6766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lnSpc>
                <a:spcPts val="8500"/>
              </a:lnSpc>
              <a:defRPr sz="8500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434015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8B45A33-2046-40F8-8A80-38E7E9EF77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496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8B45A33-2046-40F8-8A80-38E7E9EF77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64915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929F951-FD61-470D-891C-183A89249F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470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929F951-FD61-470D-891C-183A89249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601692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lien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706ADC-7E95-4CF1-91FF-072E9D1C5C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562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706ADC-7E95-4CF1-91FF-072E9D1C5C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 vert="horz"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637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6A08C9D-307E-4481-98EE-564E161C1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73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6A08C9D-307E-4481-98EE-564E161C1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6"/>
              </a:buBlip>
              <a:defRPr sz="1600"/>
            </a:lvl3pPr>
            <a:lvl4pPr marL="180000" indent="-180000">
              <a:buFontTx/>
              <a:buBlip>
                <a:blip r:embed="rId7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6"/>
              </a:buBlip>
              <a:defRPr sz="1600"/>
            </a:lvl3pPr>
            <a:lvl4pPr marL="180000" indent="-180000">
              <a:buFontTx/>
              <a:buBlip>
                <a:blip r:embed="rId7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6"/>
              </a:buBlip>
              <a:defRPr sz="1600"/>
            </a:lvl3pPr>
            <a:lvl4pPr marL="180000" indent="-180000">
              <a:buFontTx/>
              <a:buBlip>
                <a:blip r:embed="rId7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718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FA1F44A-5BE3-40C2-AC25-939D4013D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04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FA1F44A-5BE3-40C2-AC25-939D4013DA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47329-9857-4D53-8AEE-0DA821EB3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869539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BCCDF66-8E5C-4F39-AB66-C73FF47CD2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00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BCCDF66-8E5C-4F39-AB66-C73FF47CD2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vert="horz"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409434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Spalte ohne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54B1A9C-7281-47AB-8693-610D8AA80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80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54B1A9C-7281-47AB-8693-610D8AA80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 vert="horz"/>
          <a:lstStyle/>
          <a:p>
            <a:r>
              <a:rPr lang="de-DE" noProof="0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66B618-3572-4A35-AE43-3071208EAA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836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7B621EF-B927-4D07-9494-15D7A83C90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757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7B621EF-B927-4D07-9494-15D7A83C9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5D0B0C-A748-4D32-9576-AC3B06930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38466069-A1D4-43E3-9D57-F1BB85187B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3C9E28-168F-4D13-868D-27257D6C9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49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0A950C1-7AA2-4F73-AC21-33D3D0370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302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200A47E-A1A9-4037-8833-3671AB79EC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354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200A47E-A1A9-4037-8833-3671AB79EC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C96B8A2-A7F5-4CCA-9AAF-45B703C2E4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F867C49-9429-44E7-8D7C-BE88302188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1CFEB79-DAF0-459A-90C1-93E72C7A1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/>
          <a:p>
            <a:r>
              <a:rPr lang="de-DE" noProof="0"/>
              <a:t>Mastertitelformat bearbeiten</a:t>
            </a:r>
            <a:endParaRPr lang="en-US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5C63E0E-3BF5-4908-9362-9309FED383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DFEF79D-1387-4178-94B9-1DC016DC9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142C95E-C2F8-4F78-A54D-A69241CB12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AE339A-6B80-4E81-A55D-5C7A743CA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385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9133B21-53A9-4C10-9A93-A4D7F9A039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43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 und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690417B-0346-43A2-ACD8-70036BAE8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97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690417B-0346-43A2-ACD8-70036BAE8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560388-B2D9-46A0-B80F-A4F52B824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5A5C9BE-C1FB-44B5-B87B-4817825EC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BDFD4E2-0908-44C9-B61C-E96E93B1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Mastertitelformat bearbeiten</a:t>
            </a:r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B801B0-E6B4-4F96-8CE5-F9E84D58C4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198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AE83ED9-6987-4CDF-AAE4-2D4340186A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01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AE83ED9-6987-4CDF-AAE4-2D4340186A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ED9665-CC57-45BB-925F-9031ABDF5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C59C485C-B44D-40A1-BE56-1CA8AA189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A99CC9-05C0-45B6-8C99-173138DC655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21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/Inhalt nebeneinander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0256B8D-C1B8-427E-A50C-61CD1EC0BD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131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0256B8D-C1B8-427E-A50C-61CD1EC0BD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DA1E9D5-A24F-4523-B6CC-0D44E010C4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701F698-4425-4620-94EB-05146EF47E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1BBB61B-6E7A-4BFF-9CB2-ED26389C4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1808162"/>
            <a:ext cx="3584264" cy="4357687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5775" y="1808162"/>
            <a:ext cx="7416800" cy="4357687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E89875-00B9-49CB-9A52-F4F62C2F70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681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CCACD32-53D6-44DF-94E4-6A3BADBB3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0581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CCACD32-53D6-44DF-94E4-6A3BADBB3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8800" y="-152396"/>
            <a:ext cx="1103268" cy="936000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AAFA79-6410-48B1-BD41-CB373E0AA9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128BBF-7995-4434-9230-F239AB8A5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7416798" cy="4357687"/>
          </a:xfrm>
        </p:spPr>
        <p:txBody>
          <a:bodyPr vert="horz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1C1F5E-AD8D-491B-B3B3-0EF68361C6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963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auf hellbl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DF4A1DF-713D-4032-9E67-CD3D3AA570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187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DF4A1DF-713D-4032-9E67-CD3D3AA57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A76155D-28BD-4C10-BAB6-57A10E8FE8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rgbClr val="122B54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620000"/>
            <a:ext cx="11233150" cy="1676355"/>
          </a:xfrm>
        </p:spPr>
        <p:txBody>
          <a:bodyPr vert="horz" rIns="216000" anchor="b" anchorCtr="0"/>
          <a:lstStyle>
            <a:lvl1pPr algn="l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92D22C-1315-4D74-BBBB-BCE2FB7714B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C2789B9-E108-4B68-95AC-2F43EFACBD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162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er auf wei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8B8D7C-1044-4936-B82D-0C0F4AE52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585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8B8D7C-1044-4936-B82D-0C0F4AE52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96FE83-F99B-4339-865C-D01C13BF52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620000"/>
            <a:ext cx="11233150" cy="1676355"/>
          </a:xfrm>
        </p:spPr>
        <p:txBody>
          <a:bodyPr vert="horz" rIns="216000" anchor="b" anchorCtr="0"/>
          <a:lstStyle>
            <a:lvl1pPr algn="l">
              <a:lnSpc>
                <a:spcPct val="80000"/>
              </a:lnSpc>
              <a:defRPr sz="85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044055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Blau Schrift groß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6BF801A-629E-4552-9720-E76597C9F2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79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6BF801A-629E-4552-9720-E76597C9F2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84903B4-6642-4AFF-90D9-E8903BFF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  <a:prstGeom prst="rect">
            <a:avLst/>
          </a:prstGeom>
        </p:spPr>
        <p:txBody>
          <a:bodyPr vert="horz" rIns="216000" anchor="b" anchorCtr="0"/>
          <a:lstStyle>
            <a:lvl1pPr algn="r" rtl="0">
              <a:lnSpc>
                <a:spcPct val="80000"/>
              </a:lnSpc>
              <a:defRPr sz="20002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  <a:prstGeom prst="rect">
            <a:avLst/>
          </a:prstGeom>
        </p:spPr>
        <p:txBody>
          <a:bodyPr rIns="216000"/>
          <a:lstStyle>
            <a:lvl1pPr marL="0" indent="0" algn="l" rtl="0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 noProof="0"/>
              <a:t>Untertitel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4A9CB5-CAA2-4A49-8F24-799255B5E57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51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er Weiß Schrift gro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80421-16E7-4274-B74E-41B72C3BD0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390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80421-16E7-4274-B74E-41B72C3BD0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4BF3A5-0D07-42B9-83A0-4BB19773B0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</p:spPr>
        <p:txBody>
          <a:bodyPr vert="horz" rIns="216000" anchor="b" anchorCtr="0"/>
          <a:lstStyle>
            <a:lvl1pPr algn="r" rtl="0">
              <a:lnSpc>
                <a:spcPct val="80000"/>
              </a:lnSpc>
              <a:defRPr sz="20002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</p:spPr>
        <p:txBody>
          <a:bodyPr rIns="216000"/>
          <a:lstStyle>
            <a:lvl1pPr marL="0" indent="0" algn="l" rtl="0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 noProof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46291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Blau mit Bild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26096B3-72BC-4565-8722-6EC0F8A5D0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306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26096B3-72BC-4565-8722-6EC0F8A5D0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 rtl="0">
              <a:defRPr sz="1600"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  <a:lvl6pPr rtl="0">
              <a:defRPr>
                <a:solidFill>
                  <a:schemeClr val="tx1"/>
                </a:solidFill>
              </a:defRPr>
            </a:lvl6pPr>
            <a:lvl7pPr rtl="0">
              <a:defRPr/>
            </a:lvl7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0630465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Weiß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2CA5208-C4BF-4DF1-B65E-0606C5C522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9126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2CA5208-C4BF-4DF1-B65E-0606C5C52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699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sv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7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3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image" Target="../media/image3.svg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vmlDrawing" Target="../drawings/vmlDrawing13.v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oleObject" Target="../embeddings/oleObject1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oleObject" Target="../embeddings/oleObject32.bin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33.xml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vmlDrawing" Target="../drawings/vmlDrawing32.v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3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796E5D3-774B-4ED1-9AF8-9772A7C20F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8724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796E5D3-774B-4ED1-9AF8-9772A7C20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4973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707" r:id="rId2"/>
    <p:sldLayoutId id="2147483708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04FDA5F-5896-41D8-97B4-5EFF61512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85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11" imgW="353" imgH="353" progId="TCLayout.ActiveDocument.1">
                  <p:embed/>
                </p:oleObj>
              </mc:Choice>
              <mc:Fallback>
                <p:oleObj name="think-cell Folie" r:id="rId11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04FDA5F-5896-41D8-97B4-5EFF61512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 nicht benutz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A2F4508-9777-4819-A665-39ABDE492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5842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7" r:id="rId1"/>
    <p:sldLayoutId id="2147483734" r:id="rId2"/>
    <p:sldLayoutId id="2147483736" r:id="rId3"/>
    <p:sldLayoutId id="2147483733" r:id="rId4"/>
    <p:sldLayoutId id="2147483735" r:id="rId5"/>
    <p:sldLayoutId id="2147483738" r:id="rId6"/>
    <p:sldLayoutId id="2147483705" r:id="rId7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0873815-8F7E-41ED-BF69-665917D6E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01443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22" imgW="353" imgH="353" progId="TCLayout.ActiveDocument.1">
                  <p:embed/>
                </p:oleObj>
              </mc:Choice>
              <mc:Fallback>
                <p:oleObj name="think-cell Folie" r:id="rId22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0873815-8F7E-41ED-BF69-665917D6E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 nicht benutz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2950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0" r:id="rId1"/>
    <p:sldLayoutId id="2147483692" r:id="rId2"/>
    <p:sldLayoutId id="2147483652" r:id="rId3"/>
    <p:sldLayoutId id="2147483663" r:id="rId4"/>
    <p:sldLayoutId id="2147483698" r:id="rId5"/>
    <p:sldLayoutId id="2147483655" r:id="rId6"/>
    <p:sldLayoutId id="2147483695" r:id="rId7"/>
    <p:sldLayoutId id="2147483696" r:id="rId8"/>
    <p:sldLayoutId id="2147483697" r:id="rId9"/>
    <p:sldLayoutId id="2147483699" r:id="rId10"/>
    <p:sldLayoutId id="2147483684" r:id="rId11"/>
    <p:sldLayoutId id="2147483694" r:id="rId12"/>
    <p:sldLayoutId id="2147483654" r:id="rId13"/>
    <p:sldLayoutId id="2147483702" r:id="rId14"/>
    <p:sldLayoutId id="2147483687" r:id="rId15"/>
    <p:sldLayoutId id="2147483688" r:id="rId16"/>
    <p:sldLayoutId id="2147483661" r:id="rId17"/>
    <p:sldLayoutId id="2147483704" r:id="rId18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7A01834-C9BF-404E-BC68-D0A0590F4D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8563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Folie" r:id="rId13" imgW="353" imgH="353" progId="TCLayout.ActiveDocument.1">
                  <p:embed/>
                </p:oleObj>
              </mc:Choice>
              <mc:Fallback>
                <p:oleObj name="think-cell Folie" r:id="rId1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7A01834-C9BF-404E-BC68-D0A0590F4D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135B86A6-138A-4A28-AB13-4C24B97CD4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lnSpc>
                <a:spcPts val="1000"/>
              </a:lnSpc>
              <a:def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537BF08-75BA-421A-99FE-E0E5618D7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B4F9080-C8C2-406E-9CAD-3E76991AB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 nicht benutz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1AF2E81-26A4-440F-A8A4-A0986FA3C60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D88D4DA1-666E-4D7E-9EEA-96C02103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defRPr sz="800" b="0" cap="none" spc="0" baseline="0"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97155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93" r:id="rId2"/>
    <p:sldLayoutId id="2147483678" r:id="rId3"/>
    <p:sldLayoutId id="2147483679" r:id="rId4"/>
    <p:sldLayoutId id="2147483703" r:id="rId5"/>
    <p:sldLayoutId id="2147483681" r:id="rId6"/>
    <p:sldLayoutId id="2147483683" r:id="rId7"/>
    <p:sldLayoutId id="2147483671" r:id="rId8"/>
    <p:sldLayoutId id="2147483672" r:id="rId9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5110" userDrawn="1">
          <p15:clr>
            <a:srgbClr val="F26B43"/>
          </p15:clr>
        </p15:guide>
        <p15:guide id="16" pos="4974" userDrawn="1">
          <p15:clr>
            <a:srgbClr val="F26B43"/>
          </p15:clr>
        </p15:guide>
        <p15:guide id="17" pos="6312" userDrawn="1">
          <p15:clr>
            <a:srgbClr val="F26B43"/>
          </p15:clr>
        </p15:guide>
        <p15:guide id="18" pos="6176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1" orient="horz" pos="1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9.png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48DEAA-3646-4B6A-BB37-973215FA41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42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48DEAA-3646-4B6A-BB37-973215FA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7DE9121B-5E29-476E-A659-CE59D8F2D7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671" y="1884542"/>
            <a:ext cx="11216218" cy="3093200"/>
          </a:xfrm>
        </p:spPr>
        <p:txBody>
          <a:bodyPr vert="horz"/>
          <a:lstStyle/>
          <a:p>
            <a:r>
              <a:rPr lang="de-DE" dirty="0"/>
              <a:t>Beitragszahlung </a:t>
            </a:r>
            <a:r>
              <a:rPr lang="de-DE" dirty="0">
                <a:cs typeface="Arial"/>
              </a:rPr>
              <a:t/>
            </a:r>
            <a:br>
              <a:rPr lang="de-DE" dirty="0">
                <a:cs typeface="Arial"/>
              </a:rPr>
            </a:br>
            <a:r>
              <a:rPr lang="de-DE" dirty="0">
                <a:cs typeface="Arial"/>
              </a:rPr>
              <a:t>in Gruppenverträgen</a:t>
            </a:r>
            <a:endParaRPr lang="de-DE" noProof="0" dirty="0">
              <a:cs typeface="Arial"/>
            </a:endParaRP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EE9B0C72-0DB7-40B9-9454-264D9D37B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1462" y="1406224"/>
            <a:ext cx="10036710" cy="1647439"/>
          </a:xfrm>
        </p:spPr>
        <p:txBody>
          <a:bodyPr/>
          <a:lstStyle/>
          <a:p>
            <a:r>
              <a:rPr lang="de-DE" dirty="0">
                <a:solidFill>
                  <a:schemeClr val="accent6">
                    <a:lumMod val="50000"/>
                  </a:schemeClr>
                </a:solidFill>
                <a:cs typeface="Arial"/>
              </a:rPr>
              <a:t>Möglichkeiten zur</a:t>
            </a:r>
            <a:endParaRPr lang="de-DE" noProof="0" dirty="0">
              <a:solidFill>
                <a:schemeClr val="accent6">
                  <a:lumMod val="50000"/>
                </a:schemeClr>
              </a:solidFill>
              <a:cs typeface="Arial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98AEBA-199A-4BF6-8FB1-7D6A67A46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/>
          <a:lstStyle/>
          <a:p>
            <a:r>
              <a:rPr lang="de-DE" dirty="0"/>
              <a:t>Allianz Lebensversicherungs-A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4F302BB-326D-4195-A983-4A410F1E4A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/>
          <a:lstStyle/>
          <a:p>
            <a:r>
              <a:rPr lang="de-DE" noProof="0" dirty="0"/>
              <a:t/>
            </a:r>
            <a:br>
              <a:rPr lang="de-DE" noProof="0" dirty="0"/>
            </a:br>
            <a:r>
              <a:rPr lang="de-DE" dirty="0"/>
              <a:t>Februar 2023</a:t>
            </a:r>
            <a:endParaRPr lang="de-DE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A9F233-ACB6-4F5B-AE7E-6CB0FCE762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noProof="0" dirty="0"/>
              <a:t>© Allianz </a:t>
            </a:r>
            <a:r>
              <a:rPr lang="de-DE" dirty="0"/>
              <a:t>2023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1509614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B9920DA-E5A8-4A47-A6C1-A4C5C1DB65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19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B9920DA-E5A8-4A47-A6C1-A4C5C1DB6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9A7A182-EF37-4E98-82D0-9EC00BBD7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/>
          <a:p>
            <a:r>
              <a:rPr lang="de-DE" noProof="0" dirty="0"/>
              <a:t>Beitragszahlung</a:t>
            </a:r>
            <a:endParaRPr lang="de-DE" noProof="0" dirty="0">
              <a:solidFill>
                <a:srgbClr val="13A0D3"/>
              </a:solidFill>
            </a:endParaRP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A9233E5C-A21A-45D1-A437-573A2EF2AF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808163"/>
            <a:ext cx="11233151" cy="4357687"/>
          </a:xfrm>
        </p:spPr>
        <p:txBody>
          <a:bodyPr/>
          <a:lstStyle/>
          <a:p>
            <a:r>
              <a:rPr lang="de-DE" noProof="0" dirty="0"/>
              <a:t>Mit den folgenden Folien erhalten Sie eine kurze und einfache Erläuterung, was hinter den verschiedenen </a:t>
            </a:r>
            <a:r>
              <a:rPr lang="de-DE" dirty="0"/>
              <a:t>Abrechnungsverfahren</a:t>
            </a:r>
            <a:r>
              <a:rPr lang="de-DE" noProof="0" dirty="0"/>
              <a:t> auf dem Antrag unter „Beitragszahlung“ steckt.</a:t>
            </a:r>
          </a:p>
          <a:p>
            <a:endParaRPr lang="de-DE" dirty="0"/>
          </a:p>
          <a:p>
            <a:r>
              <a:rPr lang="de-DE" noProof="0" dirty="0"/>
              <a:t>Das einfachste</a:t>
            </a:r>
            <a:r>
              <a:rPr lang="de-DE" dirty="0"/>
              <a:t> und derzeit beste</a:t>
            </a:r>
            <a:r>
              <a:rPr lang="de-DE" noProof="0" dirty="0"/>
              <a:t> Modell ist hierbei </a:t>
            </a:r>
            <a:r>
              <a:rPr lang="de-DE" dirty="0"/>
              <a:t>die </a:t>
            </a:r>
            <a:r>
              <a:rPr lang="de-DE" b="1" noProof="0" dirty="0"/>
              <a:t>„Einzelbeitragszahlung per </a:t>
            </a:r>
            <a:r>
              <a:rPr lang="de-DE" b="1" dirty="0"/>
              <a:t>Überweisung</a:t>
            </a:r>
            <a:r>
              <a:rPr lang="de-DE" b="1" noProof="0" dirty="0"/>
              <a:t>“</a:t>
            </a:r>
            <a:r>
              <a:rPr lang="de-DE" noProof="0" dirty="0"/>
              <a:t>.</a:t>
            </a:r>
            <a:r>
              <a:rPr lang="de-DE" dirty="0"/>
              <a:t> </a:t>
            </a:r>
            <a:endParaRPr lang="de-DE" noProof="0" dirty="0">
              <a:cs typeface="Arial"/>
            </a:endParaRPr>
          </a:p>
          <a:p>
            <a:endParaRPr lang="de-DE" dirty="0"/>
          </a:p>
          <a:p>
            <a:r>
              <a:rPr lang="de-DE" dirty="0"/>
              <a:t>Die anderen Möglichkeiten können im Vertragsverlauf zu vermeidbarem Klärungsbedarf oder Zusatzaufwänden zwischen der Firma und der Allianz führen.</a:t>
            </a:r>
            <a:endParaRPr lang="de-DE" dirty="0">
              <a:cs typeface="Arial"/>
            </a:endParaRPr>
          </a:p>
          <a:p>
            <a:endParaRPr lang="de-DE" dirty="0">
              <a:cs typeface="Arial"/>
            </a:endParaRPr>
          </a:p>
          <a:p>
            <a:r>
              <a:rPr lang="de-DE" dirty="0">
                <a:cs typeface="Arial"/>
              </a:rPr>
              <a:t>Bei Fragen zu den unterschiedlichen Modellen sprechen Sie bitte mit den </a:t>
            </a:r>
            <a:r>
              <a:rPr lang="de-DE" dirty="0" err="1">
                <a:cs typeface="Arial" panose="020B0604020202020204"/>
              </a:rPr>
              <a:t>Kolleg:innen</a:t>
            </a:r>
            <a:r>
              <a:rPr lang="de-DE" dirty="0">
                <a:cs typeface="Arial" panose="020B0604020202020204"/>
              </a:rPr>
              <a:t> der Verwaltung.</a:t>
            </a:r>
            <a:endParaRPr lang="de-DE" noProof="0" dirty="0">
              <a:cs typeface="Arial" panose="020B0604020202020204"/>
            </a:endParaRPr>
          </a:p>
          <a:p>
            <a:endParaRPr lang="de-DE" dirty="0">
              <a:cs typeface="Arial" panose="020B0604020202020204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6B2A06E-3B97-49C8-8487-A03D771C2BC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4645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7139245F-F00A-06D8-B6F0-C8C8689FA6EC}"/>
              </a:ext>
            </a:extLst>
          </p:cNvPr>
          <p:cNvSpPr/>
          <p:nvPr/>
        </p:nvSpPr>
        <p:spPr>
          <a:xfrm>
            <a:off x="-7040" y="5662486"/>
            <a:ext cx="12193363" cy="120352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de-DE" sz="1600"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AA40AA6-629B-15CD-1926-DFD799B00DEF}"/>
              </a:ext>
            </a:extLst>
          </p:cNvPr>
          <p:cNvSpPr/>
          <p:nvPr/>
        </p:nvSpPr>
        <p:spPr>
          <a:xfrm>
            <a:off x="-7384" y="1622960"/>
            <a:ext cx="12191010" cy="1849582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E58FA8E-01AC-FC3D-7A06-9320C74168FE}"/>
              </a:ext>
            </a:extLst>
          </p:cNvPr>
          <p:cNvSpPr/>
          <p:nvPr/>
        </p:nvSpPr>
        <p:spPr>
          <a:xfrm>
            <a:off x="0" y="3533865"/>
            <a:ext cx="12192000" cy="206828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979ADF0-BA66-4ADE-B994-FB71C921E8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979ADF0-BA66-4ADE-B994-FB71C921E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B28435B2-44EB-4D91-BA61-E288EF9F8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/>
          <a:p>
            <a:r>
              <a:rPr lang="de-DE" noProof="0" dirty="0"/>
              <a:t>Einzelbeitragszahlung </a:t>
            </a:r>
            <a:r>
              <a:rPr lang="de-DE" dirty="0"/>
              <a:t>mit</a:t>
            </a:r>
            <a:r>
              <a:rPr lang="de-DE" noProof="0" dirty="0"/>
              <a:t> Überweisung</a:t>
            </a:r>
            <a:br>
              <a:rPr lang="de-DE" noProof="0" dirty="0"/>
            </a:br>
            <a:endParaRPr lang="de-DE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E8AA75-8F1B-4C70-AF9A-1675F5D2AD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" name="Inhaltsplatzhalter 16">
            <a:extLst>
              <a:ext uri="{FF2B5EF4-FFF2-40B4-BE49-F238E27FC236}">
                <a16:creationId xmlns:a16="http://schemas.microsoft.com/office/drawing/2014/main" id="{2E0C7457-29BA-6063-10A9-90C4E07E9128}"/>
              </a:ext>
            </a:extLst>
          </p:cNvPr>
          <p:cNvSpPr txBox="1">
            <a:spLocks/>
          </p:cNvSpPr>
          <p:nvPr/>
        </p:nvSpPr>
        <p:spPr>
          <a:xfrm>
            <a:off x="768794" y="1792328"/>
            <a:ext cx="11233151" cy="686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cs typeface="Arial"/>
              </a:rPr>
              <a:t>Auswahl: </a:t>
            </a:r>
          </a:p>
          <a:p>
            <a:endParaRPr lang="de-DE" dirty="0">
              <a:cs typeface="Arial"/>
            </a:endParaRPr>
          </a:p>
          <a:p>
            <a:endParaRPr lang="de-DE" dirty="0">
              <a:cs typeface="Arial"/>
            </a:endParaRPr>
          </a:p>
        </p:txBody>
      </p:sp>
      <p:sp>
        <p:nvSpPr>
          <p:cNvPr id="16" name="Inhaltsplatzhalter 16">
            <a:extLst>
              <a:ext uri="{FF2B5EF4-FFF2-40B4-BE49-F238E27FC236}">
                <a16:creationId xmlns:a16="http://schemas.microsoft.com/office/drawing/2014/main" id="{DEBDD49A-68E9-449E-F5B4-6436FFB723B2}"/>
              </a:ext>
            </a:extLst>
          </p:cNvPr>
          <p:cNvSpPr txBox="1">
            <a:spLocks/>
          </p:cNvSpPr>
          <p:nvPr/>
        </p:nvSpPr>
        <p:spPr>
          <a:xfrm>
            <a:off x="768794" y="3995092"/>
            <a:ext cx="11101000" cy="1555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/>
              <a:buChar char="•"/>
            </a:pPr>
            <a:r>
              <a:rPr lang="de-DE" sz="1400" dirty="0"/>
              <a:t>Die Firma überweist die Beiträge unter </a:t>
            </a:r>
            <a:r>
              <a:rPr lang="de-DE" sz="1400" b="1" dirty="0"/>
              <a:t>Angabe der Versicherungsnummer </a:t>
            </a:r>
            <a:r>
              <a:rPr lang="de-DE" sz="1400" dirty="0"/>
              <a:t>einzeln (d.h. pro </a:t>
            </a:r>
            <a:r>
              <a:rPr lang="de-DE" sz="1400" dirty="0" smtClean="0"/>
              <a:t>Risiko) </a:t>
            </a:r>
            <a:r>
              <a:rPr lang="de-DE" sz="1400" dirty="0"/>
              <a:t>an die Allianz.</a:t>
            </a:r>
            <a:endParaRPr lang="de-DE" sz="1400" dirty="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de-DE" sz="1400" dirty="0"/>
              <a:t>Der Beitrag wird automatisch der entsprechenden Versicherung der versicherten Person zugeordnet. Dadurch ist eine mögliche Differenz immer klar zuordbar. </a:t>
            </a:r>
            <a:endParaRPr lang="de-DE" sz="1400" dirty="0">
              <a:ea typeface="+mn-lt"/>
              <a:cs typeface="+mn-lt"/>
            </a:endParaRPr>
          </a:p>
          <a:p>
            <a:pPr marL="342900" indent="-342900">
              <a:buFont typeface="Arial"/>
              <a:buChar char="•"/>
            </a:pPr>
            <a:r>
              <a:rPr lang="de-DE" sz="1400" dirty="0">
                <a:ea typeface="+mn-lt"/>
                <a:cs typeface="+mn-lt"/>
              </a:rPr>
              <a:t>Das Verfahren ist ideal für Kunden, die die Überweisung maschinell aus dem Lohn-/Gehaltsystem anstoßen können oder per Dauerauftrag zahlen.</a:t>
            </a:r>
          </a:p>
          <a:p>
            <a:pPr marL="342900" indent="-342900">
              <a:buFont typeface="Arial"/>
              <a:buChar char="•"/>
            </a:pPr>
            <a:r>
              <a:rPr lang="de-DE" sz="1400" dirty="0"/>
              <a:t>Bei Verträgen nach § 100 EStG (geförderte AG-Finanzierung) ist dies die einzig verwendbare Beitragszahlungsoption.</a:t>
            </a:r>
          </a:p>
          <a:p>
            <a:pPr marL="342900" indent="-342900">
              <a:buFont typeface="Arial"/>
              <a:buChar char="•"/>
            </a:pPr>
            <a:endParaRPr lang="de-DE" sz="1400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D11A8C9F-10F3-A5B8-5A96-ACF82BC02A35}"/>
              </a:ext>
            </a:extLst>
          </p:cNvPr>
          <p:cNvSpPr/>
          <p:nvPr/>
        </p:nvSpPr>
        <p:spPr>
          <a:xfrm>
            <a:off x="4164261" y="4432101"/>
            <a:ext cx="5953970" cy="195588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de-DE" sz="1400" dirty="0">
                <a:cs typeface="Arial"/>
              </a:rPr>
              <a:t>In Service ABS FONL durch Firma oder Vermittler einfach einsehbar.</a:t>
            </a:r>
          </a:p>
        </p:txBody>
      </p:sp>
      <p:pic>
        <p:nvPicPr>
          <p:cNvPr id="32" name="Grafik 24">
            <a:extLst>
              <a:ext uri="{FF2B5EF4-FFF2-40B4-BE49-F238E27FC236}">
                <a16:creationId xmlns:a16="http://schemas.microsoft.com/office/drawing/2014/main" id="{1B33FF2D-9430-91B4-C9C7-402D899B617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0169" b="1695"/>
          <a:stretch/>
        </p:blipFill>
        <p:spPr>
          <a:xfrm>
            <a:off x="4203283" y="4451774"/>
            <a:ext cx="199438" cy="157289"/>
          </a:xfrm>
          <a:prstGeom prst="rect">
            <a:avLst/>
          </a:prstGeom>
        </p:spPr>
      </p:pic>
      <p:pic>
        <p:nvPicPr>
          <p:cNvPr id="24" name="Grafik 23" descr="Ein Bild, das Text enthält.&#10;&#10;Beschreibung automatisch generiert.">
            <a:extLst>
              <a:ext uri="{FF2B5EF4-FFF2-40B4-BE49-F238E27FC236}">
                <a16:creationId xmlns:a16="http://schemas.microsoft.com/office/drawing/2014/main" id="{51ADB077-1333-E1F4-4193-37FFDED1F21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474" r="-125" b="14128"/>
          <a:stretch/>
        </p:blipFill>
        <p:spPr>
          <a:xfrm>
            <a:off x="746927" y="2114834"/>
            <a:ext cx="6703934" cy="1214741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B2A26C1D-26F9-583D-CCBC-C50FB230D4F6}"/>
              </a:ext>
            </a:extLst>
          </p:cNvPr>
          <p:cNvSpPr/>
          <p:nvPr/>
        </p:nvSpPr>
        <p:spPr>
          <a:xfrm>
            <a:off x="1075173" y="2444260"/>
            <a:ext cx="218208" cy="210426"/>
          </a:xfrm>
          <a:prstGeom prst="rect">
            <a:avLst/>
          </a:prstGeom>
          <a:noFill/>
          <a:ln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EB8DEA54-8B3E-F479-FF90-84D6F4C6069E}"/>
              </a:ext>
            </a:extLst>
          </p:cNvPr>
          <p:cNvCxnSpPr>
            <a:cxnSpLocks/>
          </p:cNvCxnSpPr>
          <p:nvPr/>
        </p:nvCxnSpPr>
        <p:spPr>
          <a:xfrm>
            <a:off x="1125937" y="2495025"/>
            <a:ext cx="124423" cy="123831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88106647-5FBA-D86A-7146-5C79F64EB50A}"/>
              </a:ext>
            </a:extLst>
          </p:cNvPr>
          <p:cNvCxnSpPr>
            <a:cxnSpLocks/>
          </p:cNvCxnSpPr>
          <p:nvPr/>
        </p:nvCxnSpPr>
        <p:spPr>
          <a:xfrm flipH="1">
            <a:off x="1158250" y="2520145"/>
            <a:ext cx="93291" cy="98711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 ">
            <a:extLst>
              <a:ext uri="{FF2B5EF4-FFF2-40B4-BE49-F238E27FC236}">
                <a16:creationId xmlns:a16="http://schemas.microsoft.com/office/drawing/2014/main" id="{1E806A59-FD60-DB0E-9952-FC2C52948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92" y="6019123"/>
            <a:ext cx="424925" cy="542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224E238B-54F5-3DF6-8B4C-CECD0FB990BA}"/>
              </a:ext>
            </a:extLst>
          </p:cNvPr>
          <p:cNvSpPr/>
          <p:nvPr/>
        </p:nvSpPr>
        <p:spPr>
          <a:xfrm>
            <a:off x="772160" y="6111240"/>
            <a:ext cx="12832080" cy="25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342900" indent="-342900" defTabSz="967710">
              <a:buFont typeface="Arial"/>
              <a:buChar char="•"/>
            </a:pPr>
            <a:r>
              <a:rPr lang="de-DE" sz="1400" dirty="0">
                <a:solidFill>
                  <a:schemeClr val="bg1"/>
                </a:solidFill>
              </a:rPr>
              <a:t>Das Inkasso des Vertrages ist immer automatisch lupenrein sauber. </a:t>
            </a:r>
          </a:p>
          <a:p>
            <a:pPr marL="342900" indent="-342900" defTabSz="967710">
              <a:buFont typeface="Arial"/>
              <a:buChar char="•"/>
            </a:pPr>
            <a:r>
              <a:rPr lang="de-DE" sz="1400" dirty="0">
                <a:solidFill>
                  <a:schemeClr val="bg1"/>
                </a:solidFill>
              </a:rPr>
              <a:t>Alle Förderarten und Tarife bzw. Vorsorgekonzepte sind möglich.</a:t>
            </a:r>
            <a:endParaRPr lang="de-DE" sz="1400" dirty="0">
              <a:solidFill>
                <a:schemeClr val="bg1"/>
              </a:solidFill>
              <a:cs typeface="Arial"/>
            </a:endParaRPr>
          </a:p>
          <a:p>
            <a:pPr marL="342900" indent="-342900" defTabSz="967710">
              <a:buFont typeface="Arial"/>
              <a:buChar char="•"/>
            </a:pPr>
            <a:r>
              <a:rPr lang="de-DE" sz="1400" dirty="0">
                <a:solidFill>
                  <a:schemeClr val="bg1"/>
                </a:solidFill>
              </a:rPr>
              <a:t>Bei fondsgebundenen Tarifen erfolgt der Fondskauf sofort bei Geldeingang, frühestens zur Fälligkeit. </a:t>
            </a:r>
            <a:endParaRPr lang="de-DE" sz="14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7C170E43-71B3-71EE-B9B3-515BF8B5D675}"/>
              </a:ext>
            </a:extLst>
          </p:cNvPr>
          <p:cNvSpPr txBox="1">
            <a:spLocks/>
          </p:cNvSpPr>
          <p:nvPr/>
        </p:nvSpPr>
        <p:spPr>
          <a:xfrm>
            <a:off x="768794" y="5835933"/>
            <a:ext cx="11222266" cy="3801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cs typeface="Arial"/>
              </a:rPr>
              <a:t>Vorteile:</a:t>
            </a:r>
            <a:endParaRPr lang="de-DE" sz="1400" dirty="0">
              <a:ea typeface="+mn-lt"/>
              <a:cs typeface="+mn-lt"/>
            </a:endParaRP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FBE104D3-EF26-A9DF-1D79-9C72B1940DF6}"/>
              </a:ext>
            </a:extLst>
          </p:cNvPr>
          <p:cNvSpPr/>
          <p:nvPr/>
        </p:nvSpPr>
        <p:spPr>
          <a:xfrm rot="540000">
            <a:off x="8116993" y="5762247"/>
            <a:ext cx="3495040" cy="92456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cs typeface="Arial"/>
              </a:rPr>
              <a:t>Dran denken:</a:t>
            </a:r>
          </a:p>
          <a:p>
            <a:pPr algn="ctr"/>
            <a:r>
              <a:rPr lang="de-DE" sz="1400" dirty="0">
                <a:cs typeface="Arial"/>
              </a:rPr>
              <a:t>Beitragsänderung melden UND im eigenen HR-System der Firma ändern.</a:t>
            </a:r>
          </a:p>
        </p:txBody>
      </p:sp>
      <p:sp>
        <p:nvSpPr>
          <p:cNvPr id="7" name="Inhaltsplatzhalter 16">
            <a:extLst>
              <a:ext uri="{FF2B5EF4-FFF2-40B4-BE49-F238E27FC236}">
                <a16:creationId xmlns:a16="http://schemas.microsoft.com/office/drawing/2014/main" id="{4E5104CC-A9CA-FA3A-BDAE-09CB93134BDB}"/>
              </a:ext>
            </a:extLst>
          </p:cNvPr>
          <p:cNvSpPr txBox="1">
            <a:spLocks/>
          </p:cNvSpPr>
          <p:nvPr/>
        </p:nvSpPr>
        <p:spPr>
          <a:xfrm>
            <a:off x="768794" y="3696715"/>
            <a:ext cx="11233151" cy="686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cs typeface="Arial"/>
              </a:rPr>
              <a:t>Kernelemente: </a:t>
            </a:r>
          </a:p>
          <a:p>
            <a:endParaRPr lang="de-DE" dirty="0">
              <a:cs typeface="Arial"/>
            </a:endParaRPr>
          </a:p>
          <a:p>
            <a:endParaRPr lang="de-DE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60755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771F84C6-CFC3-5F15-52FF-79DEF24B0E6D}"/>
              </a:ext>
            </a:extLst>
          </p:cNvPr>
          <p:cNvSpPr/>
          <p:nvPr/>
        </p:nvSpPr>
        <p:spPr>
          <a:xfrm>
            <a:off x="-7384" y="1622960"/>
            <a:ext cx="12191010" cy="1849582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B712A4C-DF90-7E2A-D861-030555494183}"/>
              </a:ext>
            </a:extLst>
          </p:cNvPr>
          <p:cNvSpPr/>
          <p:nvPr/>
        </p:nvSpPr>
        <p:spPr>
          <a:xfrm>
            <a:off x="0" y="3533865"/>
            <a:ext cx="12192000" cy="206828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5B2E030-6FA1-7D2F-D31A-F9F2E987DB42}"/>
              </a:ext>
            </a:extLst>
          </p:cNvPr>
          <p:cNvSpPr/>
          <p:nvPr/>
        </p:nvSpPr>
        <p:spPr>
          <a:xfrm>
            <a:off x="-7040" y="5662486"/>
            <a:ext cx="12193363" cy="1197493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de-DE" sz="1600">
              <a:cs typeface="Arial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979ADF0-BA66-4ADE-B994-FB71C921E8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979ADF0-BA66-4ADE-B994-FB71C921E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B28435B2-44EB-4D91-BA61-E288EF9F8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/>
          <a:p>
            <a:r>
              <a:rPr lang="de-DE" noProof="0" dirty="0"/>
              <a:t>Einzelbeitragszahlung </a:t>
            </a:r>
            <a:r>
              <a:rPr lang="de-DE" dirty="0"/>
              <a:t>mit</a:t>
            </a:r>
            <a:r>
              <a:rPr lang="de-DE" noProof="0" dirty="0"/>
              <a:t> Lastschrift</a:t>
            </a:r>
            <a:br>
              <a:rPr lang="de-DE" noProof="0" dirty="0"/>
            </a:br>
            <a:endParaRPr lang="de-DE" noProof="0"/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FC237C14-376C-4763-B772-90837B09F1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794" y="3995092"/>
            <a:ext cx="10914848" cy="1378960"/>
          </a:xfrm>
        </p:spPr>
        <p:txBody>
          <a:bodyPr/>
          <a:lstStyle/>
          <a:p>
            <a:pPr marL="342900" indent="-342900">
              <a:buFont typeface="Arial"/>
              <a:buChar char="•"/>
            </a:pPr>
            <a:r>
              <a:rPr lang="de-DE" sz="1400" noProof="0" dirty="0"/>
              <a:t>Die </a:t>
            </a:r>
            <a:r>
              <a:rPr lang="de-DE" sz="1400" dirty="0"/>
              <a:t>Allianz zieht pro einzelnem Risiko den entsprechenden</a:t>
            </a:r>
            <a:r>
              <a:rPr lang="de-DE" sz="1400" noProof="0" dirty="0"/>
              <a:t> Beitrag </a:t>
            </a:r>
            <a:r>
              <a:rPr lang="de-DE" sz="1400" dirty="0"/>
              <a:t>vom gewünschten</a:t>
            </a:r>
            <a:r>
              <a:rPr lang="de-DE" sz="1400" noProof="0" dirty="0"/>
              <a:t> </a:t>
            </a:r>
            <a:r>
              <a:rPr lang="de-DE" sz="1400" dirty="0"/>
              <a:t>Konto ein. Eine Zusammenfassung der Lastschriften erfolgt nicht</a:t>
            </a:r>
            <a:r>
              <a:rPr lang="de-DE" sz="1400" dirty="0" smtClean="0"/>
              <a:t>.</a:t>
            </a:r>
            <a:endParaRPr lang="de-DE" sz="1400" noProof="0" dirty="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de-DE" sz="1400" dirty="0"/>
              <a:t>Die Zahlung wird automatisch der entsprechenden Versicherung zugeordnet und es fällt auf, wenn auf einer Versicherung eine Differenz entsteht.</a:t>
            </a:r>
            <a:endParaRPr lang="de-DE" sz="1400" noProof="0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de-DE" sz="1400" noProof="0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E8AA75-8F1B-4C70-AF9A-1675F5D2AD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5059" name="Picture 3" descr=" 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92" y="6110563"/>
            <a:ext cx="424925" cy="542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B08D639-6482-9CA0-4B1B-6FAC214F7BB8}"/>
              </a:ext>
            </a:extLst>
          </p:cNvPr>
          <p:cNvSpPr/>
          <p:nvPr/>
        </p:nvSpPr>
        <p:spPr>
          <a:xfrm rot="1320000">
            <a:off x="8886398" y="2641999"/>
            <a:ext cx="2687562" cy="1162351"/>
          </a:xfrm>
          <a:prstGeom prst="roundRect">
            <a:avLst/>
          </a:prstGeom>
          <a:solidFill>
            <a:schemeClr val="accent6">
              <a:lumMod val="9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400" dirty="0">
                <a:ea typeface="+mn-lt"/>
                <a:cs typeface="+mn-lt"/>
              </a:rPr>
              <a:t>Herausforderungen aktuell noch im Bereich SEPA-Mandate (wird ggf. mehrfach angefordert). Lösung in Sicht. </a:t>
            </a:r>
            <a:endParaRPr lang="de-DE" sz="1400" dirty="0">
              <a:cs typeface="Arial"/>
            </a:endParaRPr>
          </a:p>
        </p:txBody>
      </p:sp>
      <p:sp>
        <p:nvSpPr>
          <p:cNvPr id="19" name="Inhaltsplatzhalter 16">
            <a:extLst>
              <a:ext uri="{FF2B5EF4-FFF2-40B4-BE49-F238E27FC236}">
                <a16:creationId xmlns:a16="http://schemas.microsoft.com/office/drawing/2014/main" id="{3DBF9FA4-03FC-C7BB-7417-6A259C179A59}"/>
              </a:ext>
            </a:extLst>
          </p:cNvPr>
          <p:cNvSpPr txBox="1">
            <a:spLocks/>
          </p:cNvSpPr>
          <p:nvPr/>
        </p:nvSpPr>
        <p:spPr>
          <a:xfrm>
            <a:off x="768794" y="1792328"/>
            <a:ext cx="11233151" cy="686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cs typeface="Arial"/>
              </a:rPr>
              <a:t>Auswahl: </a:t>
            </a:r>
          </a:p>
          <a:p>
            <a:endParaRPr lang="de-DE" dirty="0">
              <a:cs typeface="Arial"/>
            </a:endParaRPr>
          </a:p>
          <a:p>
            <a:endParaRPr lang="de-DE" dirty="0">
              <a:cs typeface="Arial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768794" y="6084514"/>
            <a:ext cx="9966874" cy="7362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285750" indent="-285750" defTabSz="967710">
              <a:buFont typeface="Arial"/>
              <a:buChar char="•"/>
            </a:pPr>
            <a:r>
              <a:rPr lang="de-DE" sz="1400" dirty="0">
                <a:solidFill>
                  <a:schemeClr val="bg1"/>
                </a:solidFill>
              </a:rPr>
              <a:t>Melden von Vertragsänderungen reicht (z.B. über FONL), um Zahlungsfluss muss sich nicht aktiv </a:t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>
                <a:solidFill>
                  <a:schemeClr val="bg1"/>
                </a:solidFill>
              </a:rPr>
              <a:t>gekümmert werden (außer ggf. am Jahresende). </a:t>
            </a:r>
            <a:endParaRPr lang="de-DE" sz="1400" dirty="0">
              <a:solidFill>
                <a:srgbClr val="FF0000"/>
              </a:solidFill>
            </a:endParaRPr>
          </a:p>
          <a:p>
            <a:pPr marL="285750" indent="-285750" defTabSz="967710">
              <a:buFont typeface="Arial"/>
              <a:buChar char="•"/>
            </a:pPr>
            <a:r>
              <a:rPr lang="de-DE" sz="1400" dirty="0">
                <a:solidFill>
                  <a:schemeClr val="bg1"/>
                </a:solidFill>
              </a:rPr>
              <a:t>Lastschriftrückläufer / Zahlungsdifferenzen sind klar einzelnen Risiken zuzuordnen.</a:t>
            </a:r>
          </a:p>
        </p:txBody>
      </p:sp>
      <p:sp>
        <p:nvSpPr>
          <p:cNvPr id="13" name="Inhaltsplatzhalter 16">
            <a:extLst>
              <a:ext uri="{FF2B5EF4-FFF2-40B4-BE49-F238E27FC236}">
                <a16:creationId xmlns:a16="http://schemas.microsoft.com/office/drawing/2014/main" id="{61AB5BFB-E4A9-6E61-E7AC-3B3B476562E1}"/>
              </a:ext>
            </a:extLst>
          </p:cNvPr>
          <p:cNvSpPr txBox="1">
            <a:spLocks/>
          </p:cNvSpPr>
          <p:nvPr/>
        </p:nvSpPr>
        <p:spPr>
          <a:xfrm>
            <a:off x="768794" y="5835933"/>
            <a:ext cx="11222266" cy="3801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cs typeface="Arial"/>
              </a:rPr>
              <a:t>Vorteile:</a:t>
            </a:r>
            <a:endParaRPr lang="de-DE" sz="1400" dirty="0">
              <a:ea typeface="+mn-lt"/>
              <a:cs typeface="+mn-lt"/>
            </a:endParaRPr>
          </a:p>
        </p:txBody>
      </p:sp>
      <p:pic>
        <p:nvPicPr>
          <p:cNvPr id="6" name="Grafik 5" descr="Ein Bild, das Text enthält.&#10;&#10;Beschreibung automatisch generiert.">
            <a:extLst>
              <a:ext uri="{FF2B5EF4-FFF2-40B4-BE49-F238E27FC236}">
                <a16:creationId xmlns:a16="http://schemas.microsoft.com/office/drawing/2014/main" id="{59A2CB81-E0A5-0CD7-07E0-6FC458E1461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474" r="-125" b="14128"/>
          <a:stretch/>
        </p:blipFill>
        <p:spPr>
          <a:xfrm>
            <a:off x="746927" y="2114834"/>
            <a:ext cx="6703934" cy="1214741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410381EF-1DB8-FCCE-DD1F-8ACFE4298B9E}"/>
              </a:ext>
            </a:extLst>
          </p:cNvPr>
          <p:cNvSpPr/>
          <p:nvPr/>
        </p:nvSpPr>
        <p:spPr>
          <a:xfrm>
            <a:off x="1075173" y="2628480"/>
            <a:ext cx="218208" cy="210426"/>
          </a:xfrm>
          <a:prstGeom prst="rect">
            <a:avLst/>
          </a:prstGeom>
          <a:noFill/>
          <a:ln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E6499060-2A34-A9E7-B535-DB2917C3A345}"/>
              </a:ext>
            </a:extLst>
          </p:cNvPr>
          <p:cNvCxnSpPr>
            <a:cxnSpLocks/>
          </p:cNvCxnSpPr>
          <p:nvPr/>
        </p:nvCxnSpPr>
        <p:spPr>
          <a:xfrm>
            <a:off x="1125937" y="2679245"/>
            <a:ext cx="124423" cy="123831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C35EA4D8-64C9-30FA-0824-3AA5CD4EA1C6}"/>
              </a:ext>
            </a:extLst>
          </p:cNvPr>
          <p:cNvCxnSpPr>
            <a:cxnSpLocks/>
          </p:cNvCxnSpPr>
          <p:nvPr/>
        </p:nvCxnSpPr>
        <p:spPr>
          <a:xfrm flipH="1">
            <a:off x="1158250" y="2704365"/>
            <a:ext cx="93291" cy="98711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DE547322-2C9F-3C44-E96C-B914AD38FCBB}"/>
              </a:ext>
            </a:extLst>
          </p:cNvPr>
          <p:cNvSpPr/>
          <p:nvPr/>
        </p:nvSpPr>
        <p:spPr>
          <a:xfrm>
            <a:off x="4164261" y="4651036"/>
            <a:ext cx="5953970" cy="195588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/>
            <a:r>
              <a:rPr lang="de-DE" sz="1400" dirty="0">
                <a:cs typeface="Arial"/>
              </a:rPr>
              <a:t>In Service ABS FONL durch Firma oder Vermittler einfach einsehbar.</a:t>
            </a:r>
          </a:p>
        </p:txBody>
      </p:sp>
      <p:pic>
        <p:nvPicPr>
          <p:cNvPr id="20" name="Grafik 24">
            <a:extLst>
              <a:ext uri="{FF2B5EF4-FFF2-40B4-BE49-F238E27FC236}">
                <a16:creationId xmlns:a16="http://schemas.microsoft.com/office/drawing/2014/main" id="{6997281A-14B8-EFA6-A525-AEFFBE617F6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0169" b="1695"/>
          <a:stretch/>
        </p:blipFill>
        <p:spPr>
          <a:xfrm>
            <a:off x="4203283" y="4670709"/>
            <a:ext cx="199438" cy="157289"/>
          </a:xfrm>
          <a:prstGeom prst="rect">
            <a:avLst/>
          </a:prstGeom>
        </p:spPr>
      </p:pic>
      <p:sp>
        <p:nvSpPr>
          <p:cNvPr id="18" name="Inhaltsplatzhalter 16">
            <a:extLst>
              <a:ext uri="{FF2B5EF4-FFF2-40B4-BE49-F238E27FC236}">
                <a16:creationId xmlns:a16="http://schemas.microsoft.com/office/drawing/2014/main" id="{2845743B-7EBA-7D5E-2AE6-F50046695039}"/>
              </a:ext>
            </a:extLst>
          </p:cNvPr>
          <p:cNvSpPr txBox="1">
            <a:spLocks/>
          </p:cNvSpPr>
          <p:nvPr/>
        </p:nvSpPr>
        <p:spPr>
          <a:xfrm>
            <a:off x="768794" y="3696715"/>
            <a:ext cx="11233151" cy="686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cs typeface="Arial"/>
              </a:rPr>
              <a:t>Kernelemente: </a:t>
            </a:r>
          </a:p>
          <a:p>
            <a:endParaRPr lang="de-DE" dirty="0">
              <a:cs typeface="Arial"/>
            </a:endParaRPr>
          </a:p>
          <a:p>
            <a:endParaRPr lang="de-DE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34129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00AA1B4-341F-34B2-20D6-DF5AE265F145}"/>
              </a:ext>
            </a:extLst>
          </p:cNvPr>
          <p:cNvSpPr/>
          <p:nvPr/>
        </p:nvSpPr>
        <p:spPr>
          <a:xfrm>
            <a:off x="-7040" y="5672382"/>
            <a:ext cx="12193363" cy="1187597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de-DE" sz="1600">
              <a:cs typeface="Arial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6150BA4-C128-D8EB-D37B-0C6542D82D02}"/>
              </a:ext>
            </a:extLst>
          </p:cNvPr>
          <p:cNvSpPr/>
          <p:nvPr/>
        </p:nvSpPr>
        <p:spPr>
          <a:xfrm>
            <a:off x="-7384" y="1622960"/>
            <a:ext cx="12191010" cy="1849582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1CA0B0D-4E16-16D9-6400-FE10D69472EF}"/>
              </a:ext>
            </a:extLst>
          </p:cNvPr>
          <p:cNvSpPr/>
          <p:nvPr/>
        </p:nvSpPr>
        <p:spPr>
          <a:xfrm>
            <a:off x="0" y="3533865"/>
            <a:ext cx="12192000" cy="208540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979ADF0-BA66-4ADE-B994-FB71C921E8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979ADF0-BA66-4ADE-B994-FB71C921E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B28435B2-44EB-4D91-BA61-E288EF9F8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/>
          <a:p>
            <a:r>
              <a:rPr lang="de-DE" noProof="0" dirty="0"/>
              <a:t>Gesamtbeitragszahlung </a:t>
            </a:r>
            <a:r>
              <a:rPr lang="de-DE" dirty="0"/>
              <a:t>mit</a:t>
            </a:r>
            <a:r>
              <a:rPr lang="de-DE" noProof="0" dirty="0"/>
              <a:t> Lastschrift</a:t>
            </a:r>
            <a:br>
              <a:rPr lang="de-DE" noProof="0" dirty="0"/>
            </a:br>
            <a:endParaRPr lang="de-DE" noProof="0"/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FC237C14-376C-4763-B772-90837B09F1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794" y="4007943"/>
            <a:ext cx="10818391" cy="1618346"/>
          </a:xfrm>
        </p:spPr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de-DE" sz="1400" dirty="0"/>
              <a:t>Die</a:t>
            </a:r>
            <a:r>
              <a:rPr lang="de-DE" sz="1400" noProof="0" dirty="0"/>
              <a:t> </a:t>
            </a:r>
            <a:r>
              <a:rPr lang="de-DE" sz="1400" dirty="0"/>
              <a:t>Allianz zieht den gesamten zu zahlenden Beitrag für alle Einzelversicherungen in einer Summe </a:t>
            </a:r>
            <a:r>
              <a:rPr lang="de-DE" sz="1400" noProof="0" dirty="0"/>
              <a:t>vom Lastschriftkonto ein</a:t>
            </a:r>
            <a:r>
              <a:rPr lang="de-DE" sz="1400" dirty="0"/>
              <a:t> (pro Gruppenvertrag oder Untervertrag).</a:t>
            </a:r>
            <a:r>
              <a:rPr lang="de-DE" sz="1400" dirty="0">
                <a:ea typeface="+mn-lt"/>
                <a:cs typeface="+mn-lt"/>
              </a:rPr>
              <a:t> Die Einzelversicherungen sind damit stets ausgeglichen.</a:t>
            </a:r>
            <a:endParaRPr lang="de-DE" sz="1400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de-DE" sz="1400" dirty="0">
                <a:cs typeface="Arial"/>
              </a:rPr>
              <a:t>Geeignet für Firmen mit einem Kontoführungsmodell, bei dem pro Buchung (durch die Hausbank) Kosten entstehen.</a:t>
            </a:r>
          </a:p>
          <a:p>
            <a:pPr marL="285750" indent="-285750">
              <a:buFont typeface="Arial"/>
              <a:buChar char="•"/>
            </a:pPr>
            <a:r>
              <a:rPr lang="de-DE" sz="1400" dirty="0"/>
              <a:t>Über Beitragsänderungen der Einzelverträge (und daraus entstehende Gutschriften/Belastungen) wird vorab informiert. Der Lastschrifteinzug wird in einer Abrechnung vorher angekündigt.</a:t>
            </a:r>
            <a:endParaRPr lang="de-DE" sz="1400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de-DE" sz="1400" dirty="0">
                <a:cs typeface="Arial"/>
              </a:rPr>
              <a:t>Ein Wechsel auf eine Zahlung per Überweisung in diesem Verfahren ist nicht möglich.</a:t>
            </a:r>
          </a:p>
          <a:p>
            <a:pPr marL="285750" indent="-285750">
              <a:buFont typeface="Arial"/>
              <a:buChar char="•"/>
            </a:pPr>
            <a:r>
              <a:rPr lang="de-DE" sz="1400" dirty="0">
                <a:solidFill>
                  <a:srgbClr val="003781"/>
                </a:solidFill>
                <a:cs typeface="Arial"/>
              </a:rPr>
              <a:t>Bei wiederkehrenden Zahlungsdifferenzen wird auf Einzelbeitragszahlung umgestellt.</a:t>
            </a:r>
            <a:endParaRPr lang="de-DE" sz="1400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4E8AA75-8F1B-4C70-AF9A-1675F5D2AD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8" name="Inhaltsplatzhalter 16">
            <a:extLst>
              <a:ext uri="{FF2B5EF4-FFF2-40B4-BE49-F238E27FC236}">
                <a16:creationId xmlns:a16="http://schemas.microsoft.com/office/drawing/2014/main" id="{561ADB48-B096-8A1B-8B63-7C6BFE0B7849}"/>
              </a:ext>
            </a:extLst>
          </p:cNvPr>
          <p:cNvSpPr txBox="1">
            <a:spLocks/>
          </p:cNvSpPr>
          <p:nvPr/>
        </p:nvSpPr>
        <p:spPr>
          <a:xfrm>
            <a:off x="768794" y="1792328"/>
            <a:ext cx="11233151" cy="686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cs typeface="Arial"/>
              </a:rPr>
              <a:t>Auswahl: </a:t>
            </a:r>
          </a:p>
          <a:p>
            <a:endParaRPr lang="de-DE" dirty="0">
              <a:cs typeface="Arial"/>
            </a:endParaRPr>
          </a:p>
          <a:p>
            <a:endParaRPr lang="de-DE" dirty="0">
              <a:cs typeface="Arial"/>
            </a:endParaRPr>
          </a:p>
        </p:txBody>
      </p:sp>
      <p:sp>
        <p:nvSpPr>
          <p:cNvPr id="20" name="Inhaltsplatzhalter 16">
            <a:extLst>
              <a:ext uri="{FF2B5EF4-FFF2-40B4-BE49-F238E27FC236}">
                <a16:creationId xmlns:a16="http://schemas.microsoft.com/office/drawing/2014/main" id="{9FAF971C-9E78-9B43-48EB-5EE811D26C04}"/>
              </a:ext>
            </a:extLst>
          </p:cNvPr>
          <p:cNvSpPr txBox="1">
            <a:spLocks/>
          </p:cNvSpPr>
          <p:nvPr/>
        </p:nvSpPr>
        <p:spPr>
          <a:xfrm>
            <a:off x="768794" y="3696715"/>
            <a:ext cx="11233151" cy="6862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cs typeface="Arial"/>
              </a:rPr>
              <a:t>Kernelemente: </a:t>
            </a:r>
          </a:p>
          <a:p>
            <a:endParaRPr lang="de-DE" dirty="0">
              <a:cs typeface="Arial"/>
            </a:endParaRPr>
          </a:p>
          <a:p>
            <a:endParaRPr lang="de-DE" dirty="0">
              <a:cs typeface="Arial"/>
            </a:endParaRP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B7E06F86-9A91-EAE7-A8B6-4F23721E64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0948" y="6079451"/>
            <a:ext cx="510283" cy="501721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768794" y="6133691"/>
            <a:ext cx="9966874" cy="8199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285750" indent="-285750" defTabSz="967710">
              <a:buFont typeface="Arial"/>
              <a:buChar char="•"/>
            </a:pPr>
            <a:r>
              <a:rPr lang="de-DE" sz="1400" dirty="0">
                <a:solidFill>
                  <a:schemeClr val="bg1"/>
                </a:solidFill>
              </a:rPr>
              <a:t>Zahlungsdifferenzen werden nur auf Gruppenvertragsebene sichtbar und müssen individuell geklärt werden.</a:t>
            </a:r>
            <a:endParaRPr lang="de-DE" sz="1400" dirty="0">
              <a:solidFill>
                <a:schemeClr val="bg1"/>
              </a:solidFill>
              <a:cs typeface="Arial"/>
            </a:endParaRPr>
          </a:p>
          <a:p>
            <a:pPr marL="285750" indent="-285750" defTabSz="967710">
              <a:buFont typeface="Arial"/>
              <a:buChar char="•"/>
            </a:pPr>
            <a:r>
              <a:rPr lang="de-DE" sz="1400" dirty="0">
                <a:solidFill>
                  <a:schemeClr val="bg1"/>
                </a:solidFill>
              </a:rPr>
              <a:t>Bei nicht gemeldeten/verarbeiteten Vertragsänderungen im Einzelvertrag wird dennoch der gesamte Betrag belastet.</a:t>
            </a:r>
            <a:endParaRPr lang="de-DE" sz="1400" dirty="0">
              <a:solidFill>
                <a:schemeClr val="bg1"/>
              </a:solidFill>
              <a:cs typeface="Arial"/>
            </a:endParaRPr>
          </a:p>
          <a:p>
            <a:pPr marL="285750" indent="-285750" defTabSz="967710">
              <a:buFont typeface="Arial"/>
              <a:buChar char="•"/>
            </a:pPr>
            <a:r>
              <a:rPr lang="de-DE" sz="1400" dirty="0">
                <a:solidFill>
                  <a:schemeClr val="bg1"/>
                </a:solidFill>
              </a:rPr>
              <a:t>Rückzahlung von Beiträgen erfolgt verzögert (monatliche Aktivität/Verrechnung).</a:t>
            </a:r>
            <a:endParaRPr lang="de-DE" sz="14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1" name="Inhaltsplatzhalter 16">
            <a:extLst>
              <a:ext uri="{FF2B5EF4-FFF2-40B4-BE49-F238E27FC236}">
                <a16:creationId xmlns:a16="http://schemas.microsoft.com/office/drawing/2014/main" id="{FA31923D-2BC6-D454-B654-EC28CB274A6B}"/>
              </a:ext>
            </a:extLst>
          </p:cNvPr>
          <p:cNvSpPr txBox="1">
            <a:spLocks/>
          </p:cNvSpPr>
          <p:nvPr/>
        </p:nvSpPr>
        <p:spPr>
          <a:xfrm>
            <a:off x="768794" y="5835933"/>
            <a:ext cx="11222266" cy="3801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6771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67710" rtl="0" eaLnBrk="1" latinLnBrk="0" hangingPunct="1">
              <a:lnSpc>
                <a:spcPct val="100000"/>
              </a:lnSpc>
              <a:spcBef>
                <a:spcPts val="24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6771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lnSpc>
                <a:spcPct val="90000"/>
              </a:lnSpc>
              <a:spcBef>
                <a:spcPts val="529"/>
              </a:spcBef>
              <a:buFont typeface="Arial" panose="020B0604020202020204" pitchFamily="34" charset="0"/>
              <a:buChar char="•"/>
              <a:defRPr sz="19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cs typeface="Arial"/>
              </a:rPr>
              <a:t>Zu beachten:</a:t>
            </a:r>
            <a:endParaRPr lang="de-DE" sz="1400" dirty="0">
              <a:ea typeface="+mn-lt"/>
              <a:cs typeface="+mn-lt"/>
            </a:endParaRPr>
          </a:p>
        </p:txBody>
      </p:sp>
      <p:pic>
        <p:nvPicPr>
          <p:cNvPr id="9" name="Grafik 8" descr="Ein Bild, das Text enthält.&#10;&#10;Beschreibung automatisch generiert.">
            <a:extLst>
              <a:ext uri="{FF2B5EF4-FFF2-40B4-BE49-F238E27FC236}">
                <a16:creationId xmlns:a16="http://schemas.microsoft.com/office/drawing/2014/main" id="{ED2DB654-30E9-8A7B-7143-22CC8EC3BD6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474" r="-125" b="14128"/>
          <a:stretch/>
        </p:blipFill>
        <p:spPr>
          <a:xfrm>
            <a:off x="746927" y="2114834"/>
            <a:ext cx="6703934" cy="1214741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52EEA138-3C1E-12FE-9EBB-D83547AAD015}"/>
              </a:ext>
            </a:extLst>
          </p:cNvPr>
          <p:cNvSpPr/>
          <p:nvPr/>
        </p:nvSpPr>
        <p:spPr>
          <a:xfrm>
            <a:off x="1075173" y="2812700"/>
            <a:ext cx="218208" cy="210426"/>
          </a:xfrm>
          <a:prstGeom prst="rect">
            <a:avLst/>
          </a:prstGeom>
          <a:noFill/>
          <a:ln>
            <a:solidFill>
              <a:schemeClr val="bg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9DCFD616-8D28-1C12-778D-145B31844E76}"/>
              </a:ext>
            </a:extLst>
          </p:cNvPr>
          <p:cNvCxnSpPr>
            <a:cxnSpLocks/>
          </p:cNvCxnSpPr>
          <p:nvPr/>
        </p:nvCxnSpPr>
        <p:spPr>
          <a:xfrm>
            <a:off x="1125937" y="2863464"/>
            <a:ext cx="124423" cy="123831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88AD0D0A-1234-CD36-D6D1-57CE56A30410}"/>
              </a:ext>
            </a:extLst>
          </p:cNvPr>
          <p:cNvCxnSpPr>
            <a:cxnSpLocks/>
          </p:cNvCxnSpPr>
          <p:nvPr/>
        </p:nvCxnSpPr>
        <p:spPr>
          <a:xfrm flipH="1">
            <a:off x="1158250" y="2888585"/>
            <a:ext cx="93291" cy="98711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790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n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D01B675A-526F-4C3B-A7FC-5F45534A60DD}"/>
    </a:ext>
  </a:extLst>
</a:theme>
</file>

<file path=ppt/theme/theme2.xml><?xml version="1.0" encoding="utf-8"?>
<a:theme xmlns:a="http://schemas.openxmlformats.org/drawingml/2006/main" name="Trenner und Endfolien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3959A199-0AC8-4542-B49B-A4C0BE0A73BB}"/>
    </a:ext>
  </a:extLst>
</a:theme>
</file>

<file path=ppt/theme/theme3.xml><?xml version="1.0" encoding="utf-8"?>
<a:theme xmlns:a="http://schemas.openxmlformats.org/drawingml/2006/main" name="Inhaltsfolien weiß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E242EEF2-FFF2-4E4C-A6AD-3A2043CAFE58}"/>
    </a:ext>
  </a:extLst>
</a:theme>
</file>

<file path=ppt/theme/theme4.xml><?xml version="1.0" encoding="utf-8"?>
<a:theme xmlns:a="http://schemas.openxmlformats.org/drawingml/2006/main" name="Inhaltsfolien blau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07718B49-85BD-4423-A355-1F90D3BAC6F6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ssierOwner xmlns="db30aede-fe75-471a-b029-7ebf3eec245d">
      <UserInfo>
        <DisplayName/>
        <AccountId xsi:nil="true"/>
        <AccountType/>
      </UserInfo>
    </DossierOwner>
    <TaxCatchAll xmlns="db30aede-fe75-471a-b029-7ebf3eec245d" xsi:nil="true"/>
    <ContractExpirationDate xmlns="db30aede-fe75-471a-b029-7ebf3eec245d" xsi:nil="true"/>
    <DossierStatus xmlns="db30aede-fe75-471a-b029-7ebf3eec245d" xsi:nil="true"/>
    <_dlc_DocId xmlns="db30aede-fe75-471a-b029-7ebf3eec245d">M4XUNYAEHFMT-2026454526-18</_dlc_DocId>
    <_dlc_DocIdUrl xmlns="db30aede-fe75-471a-b029-7ebf3eec245d">
      <Url>https://allianzms.sharepoint.com/teams/DE0028-3583403/_layouts/15/DocIdRedir.aspx?ID=M4XUNYAEHFMT-2026454526-18</Url>
      <Description>M4XUNYAEHFMT-2026454526-18</Description>
    </_dlc_DocIdUrl>
    <SharedWithUsers xmlns="db30aede-fe75-471a-b029-7ebf3eec245d">
      <UserInfo>
        <DisplayName>Tonn, Franz (Allianz Lebensversicherungs-AG)</DisplayName>
        <AccountId>23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266C5B3F062D449513AB64A1B1B2ED" ma:contentTypeVersion="37" ma:contentTypeDescription="Ein neues Dokument erstellen." ma:contentTypeScope="" ma:versionID="edce339da95a4f99aace137c2c01283d">
  <xsd:schema xmlns:xsd="http://www.w3.org/2001/XMLSchema" xmlns:xs="http://www.w3.org/2001/XMLSchema" xmlns:p="http://schemas.microsoft.com/office/2006/metadata/properties" xmlns:ns2="db30aede-fe75-471a-b029-7ebf3eec245d" xmlns:ns3="4e62371e-85f0-4e6e-8e8a-a2e2c1f34f66" targetNamespace="http://schemas.microsoft.com/office/2006/metadata/properties" ma:root="true" ma:fieldsID="e823e60eaf6a27eba490433fd713744d" ns2:_="" ns3:_="">
    <xsd:import namespace="db30aede-fe75-471a-b029-7ebf3eec245d"/>
    <xsd:import namespace="4e62371e-85f0-4e6e-8e8a-a2e2c1f34f6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TaxCatchAll" minOccurs="0"/>
                <xsd:element ref="ns2:ContractExpirationDate" minOccurs="0"/>
                <xsd:element ref="ns2:DossierOwner" minOccurs="0"/>
                <xsd:element ref="ns2:DossierStatus" minOccurs="0"/>
                <xsd:element ref="ns3:MediaServiceMetadata" minOccurs="0"/>
                <xsd:element ref="ns3:MediaServiceFastMetadata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30aede-fe75-471a-b029-7ebf3eec245d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dexed="true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1" nillable="true" ma:displayName="Taxonomy Catch All Column" ma:hidden="true" ma:list="{2e25d399-cd39-4cc0-8411-66635448649e}" ma:internalName="TaxCatchAll" ma:showField="CatchAllData" ma:web="db30aede-fe75-471a-b029-7ebf3eec24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ractExpirationDate" ma:index="12" nillable="true" ma:displayName="Ablaufdatum" ma:description="Das formale Ablaufdatum der Angelegenheit bzw. des Vertragsgegenstandes, entweder aufgrund der vertraglichen Vereinbarung oder weil eine Kündigung (rechtlich) wirksam geworden ist." ma:format="DateOnly" ma:hidden="true" ma:internalName="ContractExpirationDate" ma:readOnly="false">
      <xsd:simpleType>
        <xsd:restriction base="dms:DateTime"/>
      </xsd:simpleType>
    </xsd:element>
    <xsd:element name="DossierOwner" ma:index="13" nillable="true" ma:displayName="Dossier Verantwortliche" ma:description="Person(en), die für die Informationen in diesem Dossier verantwortlich sind. " ma:hidden="true" ma:internalName="Dossier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ossierStatus" ma:index="14" nillable="true" ma:displayName="Dossier Status" ma:description="Status des Dossiers." ma:hidden="true" ma:internalName="DossierStatus" ma:readOnly="false">
      <xsd:simpleType>
        <xsd:restriction base="dms:Choice">
          <xsd:enumeration value="Offen"/>
          <xsd:enumeration value="Geschlossen"/>
        </xsd:restriction>
      </xsd:simpleType>
    </xsd:element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62371e-85f0-4e6e-8e8a-a2e2c1f34f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979EEEB4-116B-45D7-A00E-4485C1BF49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238861-3DAC-4F8A-8FBD-A33F14A90246}">
  <ds:schemaRefs>
    <ds:schemaRef ds:uri="http://purl.org/dc/terms/"/>
    <ds:schemaRef ds:uri="db30aede-fe75-471a-b029-7ebf3eec245d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e62371e-85f0-4e6e-8e8a-a2e2c1f34f66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31B4C95-5A44-42A9-B3FF-7D97683B94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b30aede-fe75-471a-b029-7ebf3eec245d"/>
    <ds:schemaRef ds:uri="4e62371e-85f0-4e6e-8e8a-a2e2c1f34f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244FA83-4639-466B-8B7F-3A2F7DE969F0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30</Words>
  <Application>Microsoft Office PowerPoint</Application>
  <PresentationFormat>Breitbild</PresentationFormat>
  <Paragraphs>58</Paragraphs>
  <Slides>5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rial</vt:lpstr>
      <vt:lpstr>Calibri</vt:lpstr>
      <vt:lpstr>Symbol</vt:lpstr>
      <vt:lpstr>Titelfolien</vt:lpstr>
      <vt:lpstr>Trenner und Endfolien</vt:lpstr>
      <vt:lpstr>Inhaltsfolien weiß</vt:lpstr>
      <vt:lpstr>Inhaltsfolien blau</vt:lpstr>
      <vt:lpstr>think-cell Folie</vt:lpstr>
      <vt:lpstr>Beitragszahlung  in Gruppenverträgen</vt:lpstr>
      <vt:lpstr>Beitragszahlung</vt:lpstr>
      <vt:lpstr>Einzelbeitragszahlung mit Überweisung </vt:lpstr>
      <vt:lpstr>Einzelbeitragszahlung mit Lastschrift </vt:lpstr>
      <vt:lpstr>Gesamtbeitragszahlung mit Lastschrift </vt:lpstr>
    </vt:vector>
  </TitlesOfParts>
  <Company>Allianz Deutsch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itragszahlung und Inkasso</dc:title>
  <dc:creator>Zeier, Janine (Allianz Deutschland)</dc:creator>
  <cp:lastModifiedBy>Proetel, Julia (Allianz Deutschland)</cp:lastModifiedBy>
  <cp:revision>545</cp:revision>
  <dcterms:created xsi:type="dcterms:W3CDTF">2022-10-17T10:09:40Z</dcterms:created>
  <dcterms:modified xsi:type="dcterms:W3CDTF">2023-03-02T13:1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266C5B3F062D449513AB64A1B1B2ED</vt:lpwstr>
  </property>
  <property fmtid="{D5CDD505-2E9C-101B-9397-08002B2CF9AE}" pid="3" name="_NewReviewCycle">
    <vt:lpwstr/>
  </property>
  <property fmtid="{D5CDD505-2E9C-101B-9397-08002B2CF9AE}" pid="4" name="MSIP_Label_ce5f591a-3248-43e9-9b70-1ad50135772d_Enabled">
    <vt:lpwstr>true</vt:lpwstr>
  </property>
  <property fmtid="{D5CDD505-2E9C-101B-9397-08002B2CF9AE}" pid="5" name="MSIP_Label_ce5f591a-3248-43e9-9b70-1ad50135772d_SetDate">
    <vt:lpwstr>2021-07-29T09:20:11Z</vt:lpwstr>
  </property>
  <property fmtid="{D5CDD505-2E9C-101B-9397-08002B2CF9AE}" pid="6" name="MSIP_Label_ce5f591a-3248-43e9-9b70-1ad50135772d_Method">
    <vt:lpwstr>Privileged</vt:lpwstr>
  </property>
  <property fmtid="{D5CDD505-2E9C-101B-9397-08002B2CF9AE}" pid="7" name="MSIP_Label_ce5f591a-3248-43e9-9b70-1ad50135772d_Name">
    <vt:lpwstr>ce5f591a-3248-43e9-9b70-1ad50135772d</vt:lpwstr>
  </property>
  <property fmtid="{D5CDD505-2E9C-101B-9397-08002B2CF9AE}" pid="8" name="MSIP_Label_ce5f591a-3248-43e9-9b70-1ad50135772d_SiteId">
    <vt:lpwstr>6e06e42d-6925-47c6-b9e7-9581c7ca302a</vt:lpwstr>
  </property>
  <property fmtid="{D5CDD505-2E9C-101B-9397-08002B2CF9AE}" pid="9" name="MSIP_Label_ce5f591a-3248-43e9-9b70-1ad50135772d_ActionId">
    <vt:lpwstr>cae8452c-7462-4e0b-86f6-dfc751feef05</vt:lpwstr>
  </property>
  <property fmtid="{D5CDD505-2E9C-101B-9397-08002B2CF9AE}" pid="10" name="MSIP_Label_ce5f591a-3248-43e9-9b70-1ad50135772d_ContentBits">
    <vt:lpwstr>0</vt:lpwstr>
  </property>
  <property fmtid="{D5CDD505-2E9C-101B-9397-08002B2CF9AE}" pid="11" name="_dlc_DocIdItemGuid">
    <vt:lpwstr>79aafd0c-d27c-4e88-a22f-11727fdc424d</vt:lpwstr>
  </property>
</Properties>
</file>